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8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18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391886"/>
            <a:ext cx="979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chemeClr val="bg2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0400" y="943593"/>
            <a:ext cx="9864000" cy="450000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8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6</cp:revision>
  <cp:lastPrinted>2017-08-08T07:27:09Z</cp:lastPrinted>
  <dcterms:created xsi:type="dcterms:W3CDTF">2015-06-10T12:48:40Z</dcterms:created>
  <dcterms:modified xsi:type="dcterms:W3CDTF">2025-10-18T13:04:18Z</dcterms:modified>
</cp:coreProperties>
</file>